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F94BCD-51FF-47CD-83E1-4A21A02F3CF4}" v="58" dt="2023-03-07T00:17:23.69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11F94BCD-51FF-47CD-83E1-4A21A02F3CF4}"/>
    <pc:docChg chg="custSel addSld delSld modSld">
      <pc:chgData name="Roberto Gallardo" userId="49a044883f185952" providerId="LiveId" clId="{11F94BCD-51FF-47CD-83E1-4A21A02F3CF4}" dt="2023-03-07T00:17:40.906" v="274" actId="1076"/>
      <pc:docMkLst>
        <pc:docMk/>
      </pc:docMkLst>
      <pc:sldChg chg="del">
        <pc:chgData name="Roberto Gallardo" userId="49a044883f185952" providerId="LiveId" clId="{11F94BCD-51FF-47CD-83E1-4A21A02F3CF4}" dt="2023-02-25T15:01:05.727" v="55" actId="47"/>
        <pc:sldMkLst>
          <pc:docMk/>
          <pc:sldMk cId="1175010214" sldId="261"/>
        </pc:sldMkLst>
      </pc:sldChg>
      <pc:sldChg chg="addSp modSp mod">
        <pc:chgData name="Roberto Gallardo" userId="49a044883f185952" providerId="LiveId" clId="{11F94BCD-51FF-47CD-83E1-4A21A02F3CF4}" dt="2023-03-07T00:10:33.630" v="66" actId="1076"/>
        <pc:sldMkLst>
          <pc:docMk/>
          <pc:sldMk cId="1418533539" sldId="271"/>
        </pc:sldMkLst>
        <pc:picChg chg="add mod">
          <ac:chgData name="Roberto Gallardo" userId="49a044883f185952" providerId="LiveId" clId="{11F94BCD-51FF-47CD-83E1-4A21A02F3CF4}" dt="2023-03-07T00:10:33.630" v="66" actId="1076"/>
          <ac:picMkLst>
            <pc:docMk/>
            <pc:sldMk cId="1418533539" sldId="271"/>
            <ac:picMk id="6" creationId="{704E6AB7-4050-654B-C6B2-048D0DCAD4A4}"/>
          </ac:picMkLst>
        </pc:picChg>
      </pc:sldChg>
      <pc:sldChg chg="addSp modSp mod">
        <pc:chgData name="Roberto Gallardo" userId="49a044883f185952" providerId="LiveId" clId="{11F94BCD-51FF-47CD-83E1-4A21A02F3CF4}" dt="2023-03-07T00:13:10.119" v="124" actId="1076"/>
        <pc:sldMkLst>
          <pc:docMk/>
          <pc:sldMk cId="2124848710" sldId="281"/>
        </pc:sldMkLst>
        <pc:picChg chg="add mod">
          <ac:chgData name="Roberto Gallardo" userId="49a044883f185952" providerId="LiveId" clId="{11F94BCD-51FF-47CD-83E1-4A21A02F3CF4}" dt="2023-03-07T00:13:10.119" v="124" actId="1076"/>
          <ac:picMkLst>
            <pc:docMk/>
            <pc:sldMk cId="2124848710" sldId="281"/>
            <ac:picMk id="6" creationId="{06495828-FE35-5D64-8FF1-1DA4EA74EE81}"/>
          </ac:picMkLst>
        </pc:picChg>
      </pc:sldChg>
      <pc:sldChg chg="addSp modSp mod">
        <pc:chgData name="Roberto Gallardo" userId="49a044883f185952" providerId="LiveId" clId="{11F94BCD-51FF-47CD-83E1-4A21A02F3CF4}" dt="2023-03-07T00:13:31.317" v="134" actId="1076"/>
        <pc:sldMkLst>
          <pc:docMk/>
          <pc:sldMk cId="2028175529" sldId="282"/>
        </pc:sldMkLst>
        <pc:picChg chg="add mod">
          <ac:chgData name="Roberto Gallardo" userId="49a044883f185952" providerId="LiveId" clId="{11F94BCD-51FF-47CD-83E1-4A21A02F3CF4}" dt="2023-03-07T00:13:31.317" v="134" actId="1076"/>
          <ac:picMkLst>
            <pc:docMk/>
            <pc:sldMk cId="2028175529" sldId="282"/>
            <ac:picMk id="7" creationId="{3A53B349-E187-ACA8-FCE1-AA9A8509B881}"/>
          </ac:picMkLst>
        </pc:picChg>
      </pc:sldChg>
      <pc:sldChg chg="addSp modSp mod">
        <pc:chgData name="Roberto Gallardo" userId="49a044883f185952" providerId="LiveId" clId="{11F94BCD-51FF-47CD-83E1-4A21A02F3CF4}" dt="2023-03-07T00:13:53.974" v="149" actId="1076"/>
        <pc:sldMkLst>
          <pc:docMk/>
          <pc:sldMk cId="1326517747" sldId="283"/>
        </pc:sldMkLst>
        <pc:picChg chg="add mod">
          <ac:chgData name="Roberto Gallardo" userId="49a044883f185952" providerId="LiveId" clId="{11F94BCD-51FF-47CD-83E1-4A21A02F3CF4}" dt="2023-03-07T00:13:53.974" v="149" actId="1076"/>
          <ac:picMkLst>
            <pc:docMk/>
            <pc:sldMk cId="1326517747" sldId="283"/>
            <ac:picMk id="7" creationId="{2A3D947E-85B7-1A89-9737-D554B271DC0C}"/>
          </ac:picMkLst>
        </pc:picChg>
      </pc:sldChg>
      <pc:sldChg chg="addSp modSp mod">
        <pc:chgData name="Roberto Gallardo" userId="49a044883f185952" providerId="LiveId" clId="{11F94BCD-51FF-47CD-83E1-4A21A02F3CF4}" dt="2023-03-07T00:14:24.823" v="166" actId="1076"/>
        <pc:sldMkLst>
          <pc:docMk/>
          <pc:sldMk cId="783739251" sldId="284"/>
        </pc:sldMkLst>
        <pc:picChg chg="add mod">
          <ac:chgData name="Roberto Gallardo" userId="49a044883f185952" providerId="LiveId" clId="{11F94BCD-51FF-47CD-83E1-4A21A02F3CF4}" dt="2023-03-07T00:14:24.823" v="166" actId="1076"/>
          <ac:picMkLst>
            <pc:docMk/>
            <pc:sldMk cId="783739251" sldId="284"/>
            <ac:picMk id="7" creationId="{F6B522FA-A5B1-4224-F456-8733C9A4900E}"/>
          </ac:picMkLst>
        </pc:picChg>
      </pc:sldChg>
      <pc:sldChg chg="addSp modSp mod">
        <pc:chgData name="Roberto Gallardo" userId="49a044883f185952" providerId="LiveId" clId="{11F94BCD-51FF-47CD-83E1-4A21A02F3CF4}" dt="2023-03-07T00:14:46.859" v="178" actId="1076"/>
        <pc:sldMkLst>
          <pc:docMk/>
          <pc:sldMk cId="1676122233" sldId="285"/>
        </pc:sldMkLst>
        <pc:picChg chg="add mod">
          <ac:chgData name="Roberto Gallardo" userId="49a044883f185952" providerId="LiveId" clId="{11F94BCD-51FF-47CD-83E1-4A21A02F3CF4}" dt="2023-03-07T00:14:46.859" v="178" actId="1076"/>
          <ac:picMkLst>
            <pc:docMk/>
            <pc:sldMk cId="1676122233" sldId="285"/>
            <ac:picMk id="7" creationId="{A906BFC7-1520-63FF-450B-10F0FAF8180F}"/>
          </ac:picMkLst>
        </pc:picChg>
      </pc:sldChg>
      <pc:sldChg chg="addSp modSp mod">
        <pc:chgData name="Roberto Gallardo" userId="49a044883f185952" providerId="LiveId" clId="{11F94BCD-51FF-47CD-83E1-4A21A02F3CF4}" dt="2023-03-07T00:15:05.658" v="187" actId="1076"/>
        <pc:sldMkLst>
          <pc:docMk/>
          <pc:sldMk cId="3100398757" sldId="286"/>
        </pc:sldMkLst>
        <pc:picChg chg="add mod">
          <ac:chgData name="Roberto Gallardo" userId="49a044883f185952" providerId="LiveId" clId="{11F94BCD-51FF-47CD-83E1-4A21A02F3CF4}" dt="2023-03-07T00:15:05.658" v="187" actId="1076"/>
          <ac:picMkLst>
            <pc:docMk/>
            <pc:sldMk cId="3100398757" sldId="286"/>
            <ac:picMk id="7" creationId="{3E3F5B67-F791-96A5-7536-E24611A66E85}"/>
          </ac:picMkLst>
        </pc:picChg>
      </pc:sldChg>
      <pc:sldChg chg="addSp modSp mod">
        <pc:chgData name="Roberto Gallardo" userId="49a044883f185952" providerId="LiveId" clId="{11F94BCD-51FF-47CD-83E1-4A21A02F3CF4}" dt="2023-03-07T00:15:23.931" v="198" actId="1076"/>
        <pc:sldMkLst>
          <pc:docMk/>
          <pc:sldMk cId="1546475425" sldId="287"/>
        </pc:sldMkLst>
        <pc:picChg chg="add mod">
          <ac:chgData name="Roberto Gallardo" userId="49a044883f185952" providerId="LiveId" clId="{11F94BCD-51FF-47CD-83E1-4A21A02F3CF4}" dt="2023-03-07T00:15:23.931" v="198" actId="1076"/>
          <ac:picMkLst>
            <pc:docMk/>
            <pc:sldMk cId="1546475425" sldId="287"/>
            <ac:picMk id="7" creationId="{D0F0806B-9C1F-F813-2A5C-BBFCD0980933}"/>
          </ac:picMkLst>
        </pc:picChg>
      </pc:sldChg>
      <pc:sldChg chg="addSp modSp mod">
        <pc:chgData name="Roberto Gallardo" userId="49a044883f185952" providerId="LiveId" clId="{11F94BCD-51FF-47CD-83E1-4A21A02F3CF4}" dt="2023-03-07T00:16:08.599" v="223" actId="1076"/>
        <pc:sldMkLst>
          <pc:docMk/>
          <pc:sldMk cId="1380517306" sldId="288"/>
        </pc:sldMkLst>
        <pc:picChg chg="add mod">
          <ac:chgData name="Roberto Gallardo" userId="49a044883f185952" providerId="LiveId" clId="{11F94BCD-51FF-47CD-83E1-4A21A02F3CF4}" dt="2023-03-07T00:16:08.599" v="223" actId="1076"/>
          <ac:picMkLst>
            <pc:docMk/>
            <pc:sldMk cId="1380517306" sldId="288"/>
            <ac:picMk id="7" creationId="{0EE0C26F-EC08-09F3-DA2E-26258747C38C}"/>
          </ac:picMkLst>
        </pc:picChg>
      </pc:sldChg>
      <pc:sldChg chg="addSp modSp mod">
        <pc:chgData name="Roberto Gallardo" userId="49a044883f185952" providerId="LiveId" clId="{11F94BCD-51FF-47CD-83E1-4A21A02F3CF4}" dt="2023-03-07T00:16:32.111" v="236" actId="1076"/>
        <pc:sldMkLst>
          <pc:docMk/>
          <pc:sldMk cId="1388671151" sldId="289"/>
        </pc:sldMkLst>
        <pc:picChg chg="add mod">
          <ac:chgData name="Roberto Gallardo" userId="49a044883f185952" providerId="LiveId" clId="{11F94BCD-51FF-47CD-83E1-4A21A02F3CF4}" dt="2023-03-07T00:16:32.111" v="236" actId="1076"/>
          <ac:picMkLst>
            <pc:docMk/>
            <pc:sldMk cId="1388671151" sldId="289"/>
            <ac:picMk id="7" creationId="{81B05556-A955-921E-CDCC-D0D951ED3CDA}"/>
          </ac:picMkLst>
        </pc:picChg>
      </pc:sldChg>
      <pc:sldChg chg="addSp delSp modSp mod">
        <pc:chgData name="Roberto Gallardo" userId="49a044883f185952" providerId="LiveId" clId="{11F94BCD-51FF-47CD-83E1-4A21A02F3CF4}" dt="2023-03-07T00:17:04.862" v="257" actId="1076"/>
        <pc:sldMkLst>
          <pc:docMk/>
          <pc:sldMk cId="2355376039" sldId="290"/>
        </pc:sldMkLst>
        <pc:graphicFrameChg chg="add mod">
          <ac:chgData name="Roberto Gallardo" userId="49a044883f185952" providerId="LiveId" clId="{11F94BCD-51FF-47CD-83E1-4A21A02F3CF4}" dt="2023-03-07T00:09:04.588" v="57"/>
          <ac:graphicFrameMkLst>
            <pc:docMk/>
            <pc:sldMk cId="2355376039" sldId="290"/>
            <ac:graphicFrameMk id="6" creationId="{89C6635F-6334-6B88-F22A-0B017C71DD57}"/>
          </ac:graphicFrameMkLst>
        </pc:graphicFrameChg>
        <pc:picChg chg="del">
          <ac:chgData name="Roberto Gallardo" userId="49a044883f185952" providerId="LiveId" clId="{11F94BCD-51FF-47CD-83E1-4A21A02F3CF4}" dt="2023-03-07T00:09:04.167" v="56" actId="478"/>
          <ac:picMkLst>
            <pc:docMk/>
            <pc:sldMk cId="2355376039" sldId="290"/>
            <ac:picMk id="5" creationId="{3F30CD33-53A3-5D33-C1AE-7AE662C0FB10}"/>
          </ac:picMkLst>
        </pc:picChg>
        <pc:picChg chg="add mod">
          <ac:chgData name="Roberto Gallardo" userId="49a044883f185952" providerId="LiveId" clId="{11F94BCD-51FF-47CD-83E1-4A21A02F3CF4}" dt="2023-03-07T00:17:04.862" v="257" actId="1076"/>
          <ac:picMkLst>
            <pc:docMk/>
            <pc:sldMk cId="2355376039" sldId="290"/>
            <ac:picMk id="10" creationId="{00D696F7-E94E-F6DF-0806-4294BC0B8F0E}"/>
          </ac:picMkLst>
        </pc:picChg>
      </pc:sldChg>
      <pc:sldChg chg="addSp delSp modSp mod">
        <pc:chgData name="Roberto Gallardo" userId="49a044883f185952" providerId="LiveId" clId="{11F94BCD-51FF-47CD-83E1-4A21A02F3CF4}" dt="2023-03-07T00:17:40.906" v="274" actId="1076"/>
        <pc:sldMkLst>
          <pc:docMk/>
          <pc:sldMk cId="3757257295" sldId="291"/>
        </pc:sldMkLst>
        <pc:graphicFrameChg chg="add mod">
          <ac:chgData name="Roberto Gallardo" userId="49a044883f185952" providerId="LiveId" clId="{11F94BCD-51FF-47CD-83E1-4A21A02F3CF4}" dt="2023-03-07T00:09:11.344" v="59"/>
          <ac:graphicFrameMkLst>
            <pc:docMk/>
            <pc:sldMk cId="3757257295" sldId="291"/>
            <ac:graphicFrameMk id="6" creationId="{062999C5-75E8-F6EB-4D46-857539B0F282}"/>
          </ac:graphicFrameMkLst>
        </pc:graphicFrameChg>
        <pc:picChg chg="del">
          <ac:chgData name="Roberto Gallardo" userId="49a044883f185952" providerId="LiveId" clId="{11F94BCD-51FF-47CD-83E1-4A21A02F3CF4}" dt="2023-03-07T00:09:10.978" v="58" actId="478"/>
          <ac:picMkLst>
            <pc:docMk/>
            <pc:sldMk cId="3757257295" sldId="291"/>
            <ac:picMk id="7" creationId="{30354CE8-3CCD-CAC4-5384-0F7FF613E7A8}"/>
          </ac:picMkLst>
        </pc:picChg>
        <pc:picChg chg="add mod">
          <ac:chgData name="Roberto Gallardo" userId="49a044883f185952" providerId="LiveId" clId="{11F94BCD-51FF-47CD-83E1-4A21A02F3CF4}" dt="2023-03-07T00:17:40.906" v="274" actId="1076"/>
          <ac:picMkLst>
            <pc:docMk/>
            <pc:sldMk cId="3757257295" sldId="291"/>
            <ac:picMk id="10" creationId="{A1EE5E8F-5E19-6B89-C283-3CFFA5D23465}"/>
          </ac:picMkLst>
        </pc:picChg>
      </pc:sldChg>
      <pc:sldChg chg="addSp modSp mod">
        <pc:chgData name="Roberto Gallardo" userId="49a044883f185952" providerId="LiveId" clId="{11F94BCD-51FF-47CD-83E1-4A21A02F3CF4}" dt="2023-03-07T00:15:44.987" v="211" actId="1076"/>
        <pc:sldMkLst>
          <pc:docMk/>
          <pc:sldMk cId="1259856727" sldId="292"/>
        </pc:sldMkLst>
        <pc:picChg chg="add mod">
          <ac:chgData name="Roberto Gallardo" userId="49a044883f185952" providerId="LiveId" clId="{11F94BCD-51FF-47CD-83E1-4A21A02F3CF4}" dt="2023-03-07T00:15:44.987" v="211" actId="1076"/>
          <ac:picMkLst>
            <pc:docMk/>
            <pc:sldMk cId="1259856727" sldId="292"/>
            <ac:picMk id="7" creationId="{813570F5-CC54-6ACB-6E9F-4485EBC2339D}"/>
          </ac:picMkLst>
        </pc:picChg>
      </pc:sldChg>
      <pc:sldChg chg="addSp modSp mod">
        <pc:chgData name="Roberto Gallardo" userId="49a044883f185952" providerId="LiveId" clId="{11F94BCD-51FF-47CD-83E1-4A21A02F3CF4}" dt="2023-03-07T00:12:53.030" v="113" actId="1076"/>
        <pc:sldMkLst>
          <pc:docMk/>
          <pc:sldMk cId="3324519687" sldId="293"/>
        </pc:sldMkLst>
        <pc:picChg chg="add mod">
          <ac:chgData name="Roberto Gallardo" userId="49a044883f185952" providerId="LiveId" clId="{11F94BCD-51FF-47CD-83E1-4A21A02F3CF4}" dt="2023-03-07T00:12:53.030" v="113" actId="1076"/>
          <ac:picMkLst>
            <pc:docMk/>
            <pc:sldMk cId="3324519687" sldId="293"/>
            <ac:picMk id="7" creationId="{180F8AFE-D9D6-2ADF-42FF-89503654CB52}"/>
          </ac:picMkLst>
        </pc:picChg>
      </pc:sldChg>
      <pc:sldChg chg="addSp modSp mod">
        <pc:chgData name="Roberto Gallardo" userId="49a044883f185952" providerId="LiveId" clId="{11F94BCD-51FF-47CD-83E1-4A21A02F3CF4}" dt="2023-03-07T00:11:40.715" v="96" actId="1076"/>
        <pc:sldMkLst>
          <pc:docMk/>
          <pc:sldMk cId="3256182630" sldId="295"/>
        </pc:sldMkLst>
        <pc:picChg chg="add mod">
          <ac:chgData name="Roberto Gallardo" userId="49a044883f185952" providerId="LiveId" clId="{11F94BCD-51FF-47CD-83E1-4A21A02F3CF4}" dt="2023-03-07T00:11:40.715" v="96" actId="1076"/>
          <ac:picMkLst>
            <pc:docMk/>
            <pc:sldMk cId="3256182630" sldId="295"/>
            <ac:picMk id="7" creationId="{B77F5282-8879-BA4F-22E3-265D7B2CD3BE}"/>
          </ac:picMkLst>
        </pc:picChg>
      </pc:sldChg>
      <pc:sldChg chg="addSp modSp mod">
        <pc:chgData name="Roberto Gallardo" userId="49a044883f185952" providerId="LiveId" clId="{11F94BCD-51FF-47CD-83E1-4A21A02F3CF4}" dt="2023-03-07T00:12:37.098" v="105" actId="1076"/>
        <pc:sldMkLst>
          <pc:docMk/>
          <pc:sldMk cId="4057156843" sldId="296"/>
        </pc:sldMkLst>
        <pc:picChg chg="add mod">
          <ac:chgData name="Roberto Gallardo" userId="49a044883f185952" providerId="LiveId" clId="{11F94BCD-51FF-47CD-83E1-4A21A02F3CF4}" dt="2023-03-07T00:12:37.098" v="105" actId="1076"/>
          <ac:picMkLst>
            <pc:docMk/>
            <pc:sldMk cId="4057156843" sldId="296"/>
            <ac:picMk id="7" creationId="{8CDFD70D-BC74-18B5-6887-04D24180D3F3}"/>
          </ac:picMkLst>
        </pc:picChg>
      </pc:sldChg>
      <pc:sldChg chg="addSp modSp mod">
        <pc:chgData name="Roberto Gallardo" userId="49a044883f185952" providerId="LiveId" clId="{11F94BCD-51FF-47CD-83E1-4A21A02F3CF4}" dt="2023-03-07T00:11:11.807" v="82" actId="1035"/>
        <pc:sldMkLst>
          <pc:docMk/>
          <pc:sldMk cId="2080110827" sldId="297"/>
        </pc:sldMkLst>
        <pc:picChg chg="add mod">
          <ac:chgData name="Roberto Gallardo" userId="49a044883f185952" providerId="LiveId" clId="{11F94BCD-51FF-47CD-83E1-4A21A02F3CF4}" dt="2023-03-07T00:11:11.807" v="82" actId="1035"/>
          <ac:picMkLst>
            <pc:docMk/>
            <pc:sldMk cId="2080110827" sldId="297"/>
            <ac:picMk id="6" creationId="{991CD326-F814-0754-2BC0-35BEE443026A}"/>
          </ac:picMkLst>
        </pc:picChg>
      </pc:sldChg>
      <pc:sldChg chg="addSp modSp mod">
        <pc:chgData name="Roberto Gallardo" userId="49a044883f185952" providerId="LiveId" clId="{11F94BCD-51FF-47CD-83E1-4A21A02F3CF4}" dt="2023-03-07T00:10:50.559" v="73" actId="1076"/>
        <pc:sldMkLst>
          <pc:docMk/>
          <pc:sldMk cId="1532666867" sldId="298"/>
        </pc:sldMkLst>
        <pc:picChg chg="add mod">
          <ac:chgData name="Roberto Gallardo" userId="49a044883f185952" providerId="LiveId" clId="{11F94BCD-51FF-47CD-83E1-4A21A02F3CF4}" dt="2023-03-07T00:10:50.559" v="73" actId="1076"/>
          <ac:picMkLst>
            <pc:docMk/>
            <pc:sldMk cId="1532666867" sldId="298"/>
            <ac:picMk id="6" creationId="{A28D92A1-B07C-7C99-D00E-058E6B3E9B09}"/>
          </ac:picMkLst>
        </pc:picChg>
      </pc:sldChg>
      <pc:sldChg chg="addSp modSp mod">
        <pc:chgData name="Roberto Gallardo" userId="49a044883f185952" providerId="LiveId" clId="{11F94BCD-51FF-47CD-83E1-4A21A02F3CF4}" dt="2023-03-07T00:16:48.047" v="246" actId="1076"/>
        <pc:sldMkLst>
          <pc:docMk/>
          <pc:sldMk cId="1951376777" sldId="299"/>
        </pc:sldMkLst>
        <pc:picChg chg="add mod">
          <ac:chgData name="Roberto Gallardo" userId="49a044883f185952" providerId="LiveId" clId="{11F94BCD-51FF-47CD-83E1-4A21A02F3CF4}" dt="2023-03-07T00:16:48.047" v="246" actId="1076"/>
          <ac:picMkLst>
            <pc:docMk/>
            <pc:sldMk cId="1951376777" sldId="299"/>
            <ac:picMk id="7" creationId="{D93C2418-BD2B-6C04-4AB6-7DD736CD4184}"/>
          </ac:picMkLst>
        </pc:picChg>
      </pc:sldChg>
      <pc:sldChg chg="modSp mod">
        <pc:chgData name="Roberto Gallardo" userId="49a044883f185952" providerId="LiveId" clId="{11F94BCD-51FF-47CD-83E1-4A21A02F3CF4}" dt="2023-02-25T13:26:14.669" v="53" actId="20577"/>
        <pc:sldMkLst>
          <pc:docMk/>
          <pc:sldMk cId="1515423683" sldId="302"/>
        </pc:sldMkLst>
        <pc:spChg chg="mod">
          <ac:chgData name="Roberto Gallardo" userId="49a044883f185952" providerId="LiveId" clId="{11F94BCD-51FF-47CD-83E1-4A21A02F3CF4}" dt="2023-02-25T13:26:14.669" v="53" actId="20577"/>
          <ac:spMkLst>
            <pc:docMk/>
            <pc:sldMk cId="1515423683" sldId="302"/>
            <ac:spMk id="5" creationId="{6AE302AC-8931-4144-BE52-DD1A8BA82462}"/>
          </ac:spMkLst>
        </pc:spChg>
        <pc:spChg chg="mod">
          <ac:chgData name="Roberto Gallardo" userId="49a044883f185952" providerId="LiveId" clId="{11F94BCD-51FF-47CD-83E1-4A21A02F3CF4}" dt="2023-02-25T13:26:11.375" v="52" actId="20577"/>
          <ac:spMkLst>
            <pc:docMk/>
            <pc:sldMk cId="1515423683" sldId="302"/>
            <ac:spMk id="9" creationId="{E362A98F-7DCD-C67C-23CE-1BE182A133B4}"/>
          </ac:spMkLst>
        </pc:spChg>
      </pc:sldChg>
      <pc:sldChg chg="del">
        <pc:chgData name="Roberto Gallardo" userId="49a044883f185952" providerId="LiveId" clId="{11F94BCD-51FF-47CD-83E1-4A21A02F3CF4}" dt="2023-02-25T15:01:05.727" v="55" actId="47"/>
        <pc:sldMkLst>
          <pc:docMk/>
          <pc:sldMk cId="2841628872" sldId="303"/>
        </pc:sldMkLst>
      </pc:sldChg>
      <pc:sldChg chg="del">
        <pc:chgData name="Roberto Gallardo" userId="49a044883f185952" providerId="LiveId" clId="{11F94BCD-51FF-47CD-83E1-4A21A02F3CF4}" dt="2023-02-25T15:01:05.727" v="55" actId="47"/>
        <pc:sldMkLst>
          <pc:docMk/>
          <pc:sldMk cId="3084076302" sldId="304"/>
        </pc:sldMkLst>
      </pc:sldChg>
      <pc:sldChg chg="del">
        <pc:chgData name="Roberto Gallardo" userId="49a044883f185952" providerId="LiveId" clId="{11F94BCD-51FF-47CD-83E1-4A21A02F3CF4}" dt="2023-02-25T15:01:05.727" v="55" actId="47"/>
        <pc:sldMkLst>
          <pc:docMk/>
          <pc:sldMk cId="473712435" sldId="305"/>
        </pc:sldMkLst>
      </pc:sldChg>
      <pc:sldChg chg="modSp mod">
        <pc:chgData name="Roberto Gallardo" userId="49a044883f185952" providerId="LiveId" clId="{11F94BCD-51FF-47CD-83E1-4A21A02F3CF4}" dt="2023-02-25T12:37:55.002" v="50" actId="20577"/>
        <pc:sldMkLst>
          <pc:docMk/>
          <pc:sldMk cId="2366022307" sldId="306"/>
        </pc:sldMkLst>
        <pc:spChg chg="mod">
          <ac:chgData name="Roberto Gallardo" userId="49a044883f185952" providerId="LiveId" clId="{11F94BCD-51FF-47CD-83E1-4A21A02F3CF4}" dt="2023-02-25T12:37:55.002" v="50" actId="20577"/>
          <ac:spMkLst>
            <pc:docMk/>
            <pc:sldMk cId="2366022307" sldId="306"/>
            <ac:spMk id="11" creationId="{09F5AE19-B4E3-7788-F25F-CDA80D596DAF}"/>
          </ac:spMkLst>
        </pc:spChg>
        <pc:grpChg chg="mod">
          <ac:chgData name="Roberto Gallardo" userId="49a044883f185952" providerId="LiveId" clId="{11F94BCD-51FF-47CD-83E1-4A21A02F3CF4}" dt="2023-02-25T12:37:25.170" v="19" actId="1035"/>
          <ac:grpSpMkLst>
            <pc:docMk/>
            <pc:sldMk cId="2366022307" sldId="306"/>
            <ac:grpSpMk id="6" creationId="{4BC0EAD3-A621-359E-F822-1BC272A15D80}"/>
          </ac:grpSpMkLst>
        </pc:grpChg>
        <pc:cxnChg chg="mod">
          <ac:chgData name="Roberto Gallardo" userId="49a044883f185952" providerId="LiveId" clId="{11F94BCD-51FF-47CD-83E1-4A21A02F3CF4}" dt="2023-02-25T12:37:44.628" v="45" actId="1035"/>
          <ac:cxnSpMkLst>
            <pc:docMk/>
            <pc:sldMk cId="2366022307" sldId="306"/>
            <ac:cxnSpMk id="27" creationId="{F0CF8142-8895-D0A8-A662-E40568742508}"/>
          </ac:cxnSpMkLst>
        </pc:cxnChg>
        <pc:cxnChg chg="mod">
          <ac:chgData name="Roberto Gallardo" userId="49a044883f185952" providerId="LiveId" clId="{11F94BCD-51FF-47CD-83E1-4A21A02F3CF4}" dt="2023-02-25T12:37:50.517" v="46" actId="14100"/>
          <ac:cxnSpMkLst>
            <pc:docMk/>
            <pc:sldMk cId="2366022307" sldId="306"/>
            <ac:cxnSpMk id="28" creationId="{15C28C80-F0E1-159F-F103-CEA53436F6F9}"/>
          </ac:cxnSpMkLst>
        </pc:cxnChg>
        <pc:cxnChg chg="mod">
          <ac:chgData name="Roberto Gallardo" userId="49a044883f185952" providerId="LiveId" clId="{11F94BCD-51FF-47CD-83E1-4A21A02F3CF4}" dt="2023-02-25T12:37:38.116" v="30" actId="14100"/>
          <ac:cxnSpMkLst>
            <pc:docMk/>
            <pc:sldMk cId="2366022307" sldId="306"/>
            <ac:cxnSpMk id="29" creationId="{783CFD35-8D28-EF95-B783-8C1E52BEC855}"/>
          </ac:cxnSpMkLst>
        </pc:cxnChg>
      </pc:sldChg>
      <pc:sldChg chg="add">
        <pc:chgData name="Roberto Gallardo" userId="49a044883f185952" providerId="LiveId" clId="{11F94BCD-51FF-47CD-83E1-4A21A02F3CF4}" dt="2023-02-25T15:01:02.988" v="54"/>
        <pc:sldMkLst>
          <pc:docMk/>
          <pc:sldMk cId="3162560236" sldId="307"/>
        </pc:sldMkLst>
      </pc:sldChg>
      <pc:sldChg chg="add">
        <pc:chgData name="Roberto Gallardo" userId="49a044883f185952" providerId="LiveId" clId="{11F94BCD-51FF-47CD-83E1-4A21A02F3CF4}" dt="2023-02-25T15:01:02.988" v="54"/>
        <pc:sldMkLst>
          <pc:docMk/>
          <pc:sldMk cId="1345007809" sldId="308"/>
        </pc:sldMkLst>
      </pc:sldChg>
      <pc:sldChg chg="add">
        <pc:chgData name="Roberto Gallardo" userId="49a044883f185952" providerId="LiveId" clId="{11F94BCD-51FF-47CD-83E1-4A21A02F3CF4}" dt="2023-02-25T15:01:02.988" v="54"/>
        <pc:sldMkLst>
          <pc:docMk/>
          <pc:sldMk cId="2927870682" sldId="309"/>
        </pc:sldMkLst>
      </pc:sldChg>
      <pc:sldChg chg="add">
        <pc:chgData name="Roberto Gallardo" userId="49a044883f185952" providerId="LiveId" clId="{11F94BCD-51FF-47CD-83E1-4A21A02F3CF4}" dt="2023-02-25T15:01:02.988" v="54"/>
        <pc:sldMkLst>
          <pc:docMk/>
          <pc:sldMk cId="1838937322"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6/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6/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31763"/>
          </a:xfrm>
          <a:prstGeom prst="rect">
            <a:avLst/>
          </a:prstGeom>
          <a:noFill/>
        </p:spPr>
        <p:txBody>
          <a:bodyPr wrap="square" rtlCol="0">
            <a:spAutoFit/>
          </a:bodyPr>
          <a:lstStyle/>
          <a:p>
            <a:r>
              <a:rPr lang="en-US" sz="4000" dirty="0">
                <a:solidFill>
                  <a:schemeClr val="bg1"/>
                </a:solidFill>
              </a:rPr>
              <a:t>Wayne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C4DC11B-BDD2-89F5-7655-E3421EB5B30D}"/>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29278706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1E804FF4-B359-B549-C430-0BEACD812161}"/>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18389373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704E6AB7-4050-654B-C6B2-048D0DCAD4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A28D92A1-B07C-7C99-D00E-058E6B3E9B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91CD326-F814-0754-2BC0-35BEE44302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7653"/>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EE74A4D-BF53-8549-12EE-024795FFC096}"/>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Diagram, map&#10;&#10;Description automatically generated">
            <a:extLst>
              <a:ext uri="{FF2B5EF4-FFF2-40B4-BE49-F238E27FC236}">
                <a16:creationId xmlns:a16="http://schemas.microsoft.com/office/drawing/2014/main" id="{B77F5282-8879-BA4F-22E3-265D7B2CD3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929"/>
            <a:ext cx="6403976" cy="4528617"/>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C599C50F-FBE5-4129-8C67-9561D730FD80}"/>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8CDFD70D-BC74-18B5-6887-04D24180D3F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41"/>
            <a:ext cx="6403975" cy="4528617"/>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B38B5B22-0DFB-F4AB-EFE1-03037DE3820E}"/>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180F8AFE-D9D6-2ADF-42FF-89503654CB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EFF51A9-9A05-99B0-EA7A-9391FAB81B9E}"/>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Diagram, map&#10;&#10;Description automatically generated">
            <a:extLst>
              <a:ext uri="{FF2B5EF4-FFF2-40B4-BE49-F238E27FC236}">
                <a16:creationId xmlns:a16="http://schemas.microsoft.com/office/drawing/2014/main" id="{06495828-FE35-5D64-8FF1-1DA4EA74EE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2670"/>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E46F18FD-230A-E7A3-B1EC-CFD6D728112E}"/>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3A53B349-E187-ACA8-FCE1-AA9A8509B8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1" cy="452637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669101A6-3575-CB31-28FB-C7ABD2038CFA}"/>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2A3D947E-85B7-1A89-9737-D554B271DC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0207"/>
            <a:ext cx="6404826" cy="4529219"/>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28B18E3E-862A-FC43-BFAF-4E2AF1BA3456}"/>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6B522FA-A5B1-4224-F456-8733C9A490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917"/>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13D1148F-FE2B-86D6-8CE9-EB2F0A011FDB}"/>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906BFC7-1520-63FF-450B-10F0FAF818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08701"/>
            <a:ext cx="6400801" cy="4526372"/>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8B2CF254-4D62-5245-C17E-64F96B2078D0}"/>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3E3F5B67-F791-96A5-7536-E24611A66E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8325" y="1422122"/>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A8877E18-489D-7D00-C138-9552C6CB9CEA}"/>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D0F0806B-9C1F-F813-2A5C-BBFCD09809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761D9D98-6B75-D6B4-4F73-B047E0A4BBA4}"/>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13570F5-CC54-6ACB-6E9F-4485EBC233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772"/>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A352E1EF-FDD9-B701-EFA9-1C22E1648BB8}"/>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0EE0C26F-EC08-09F3-DA2E-26258747C3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1"/>
            <a:ext cx="6400801" cy="4526373"/>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5DBE8422-BDD7-D5BF-862B-117736C1C199}"/>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81B05556-A955-921E-CDCC-D0D951ED3CD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6639" y="1422250"/>
            <a:ext cx="6372961" cy="4506685"/>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6725C7A4-2BA3-B284-E78E-7CB42DFC674D}"/>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 map&#10;&#10;Description automatically generated">
            <a:extLst>
              <a:ext uri="{FF2B5EF4-FFF2-40B4-BE49-F238E27FC236}">
                <a16:creationId xmlns:a16="http://schemas.microsoft.com/office/drawing/2014/main" id="{D93C2418-BD2B-6C04-4AB6-7DD736CD41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a:extLst>
              <a:ext uri="{FF2B5EF4-FFF2-40B4-BE49-F238E27FC236}">
                <a16:creationId xmlns:a16="http://schemas.microsoft.com/office/drawing/2014/main" id="{B49AE726-6582-42DE-4036-2B553908B084}"/>
              </a:ext>
            </a:extLst>
          </p:cNvPr>
          <p:cNvPicPr preferRelativeResize="0"/>
          <p:nvPr/>
        </p:nvPicPr>
        <p:blipFill>
          <a:blip r:embed="rId2"/>
          <a:stretch>
            <a:fillRect/>
          </a:stretch>
        </p:blipFill>
        <p:spPr>
          <a:xfrm>
            <a:off x="152400" y="1749828"/>
            <a:ext cx="5390460" cy="3861010"/>
          </a:xfrm>
          <a:prstGeom prst="rect">
            <a:avLst/>
          </a:prstGeom>
        </p:spPr>
      </p:pic>
      <p:pic>
        <p:nvPicPr>
          <p:cNvPr id="10" name="Picture 9" descr="Map&#10;&#10;Description automatically generated">
            <a:extLst>
              <a:ext uri="{FF2B5EF4-FFF2-40B4-BE49-F238E27FC236}">
                <a16:creationId xmlns:a16="http://schemas.microsoft.com/office/drawing/2014/main" id="{00D696F7-E94E-F6DF-0806-4294BC0B8F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147"/>
            <a:ext cx="6400801"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147411B5-AEEF-5726-ACC0-1F63E8148327}"/>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a:extLst>
              <a:ext uri="{FF2B5EF4-FFF2-40B4-BE49-F238E27FC236}">
                <a16:creationId xmlns:a16="http://schemas.microsoft.com/office/drawing/2014/main" id="{B362A03C-3769-5B58-6561-3A9FB13DB9C7}"/>
              </a:ext>
            </a:extLst>
          </p:cNvPr>
          <p:cNvPicPr preferRelativeResize="0"/>
          <p:nvPr/>
        </p:nvPicPr>
        <p:blipFill>
          <a:blip r:embed="rId2"/>
          <a:stretch>
            <a:fillRect/>
          </a:stretch>
        </p:blipFill>
        <p:spPr>
          <a:xfrm>
            <a:off x="152399" y="1762247"/>
            <a:ext cx="5332371" cy="3819403"/>
          </a:xfrm>
          <a:prstGeom prst="rect">
            <a:avLst/>
          </a:prstGeom>
        </p:spPr>
      </p:pic>
      <p:pic>
        <p:nvPicPr>
          <p:cNvPr id="10" name="Picture 9" descr="Map&#10;&#10;Description automatically generated">
            <a:extLst>
              <a:ext uri="{FF2B5EF4-FFF2-40B4-BE49-F238E27FC236}">
                <a16:creationId xmlns:a16="http://schemas.microsoft.com/office/drawing/2014/main" id="{A1EE5E8F-5E19-6B89-C283-3CFFA5D234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62"/>
            <a:ext cx="6400801"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CA9440B9-B05D-CA4A-C496-3C5F9A189E2A}"/>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FEC90F6-FC61-EA6D-EFCD-8FFC2B79A197}"/>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799A7E5-9521-CA05-AA8B-B09A7EC0B6A1}"/>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2889893"/>
            <a:ext cx="1198148" cy="1709688"/>
            <a:chOff x="10485745" y="3171912"/>
            <a:chExt cx="1198148" cy="170968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53178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7.2</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317191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3171912"/>
              <a:ext cx="0" cy="35987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424336"/>
              <a:ext cx="0" cy="4572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610314"/>
            <a:ext cx="1198148" cy="2133852"/>
            <a:chOff x="2775759" y="2358158"/>
            <a:chExt cx="1198148" cy="213385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04672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4</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17996" y="23581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367683"/>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p:cNvCxnSpPr>
            <p:nvPr/>
          </p:nvCxnSpPr>
          <p:spPr>
            <a:xfrm>
              <a:off x="3374833" y="3967671"/>
              <a:ext cx="0" cy="5243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50B359BB-E278-DEAC-C09B-95D24CEA003F}"/>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2531D8F8-32E1-48DA-321D-A955DCD3B753}"/>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3A1AB74-1D4B-F4F0-CACD-0C7CB9153743}"/>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C38F3ADE-077C-DAF5-E11D-CA563B2A9662}"/>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A8F971A0-47CD-53D9-5A29-3B5A0599E1A3}"/>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855C96A8-83C9-15A3-BAD7-B7E4664E5B81}"/>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54677703-BC56-C8DB-EC3F-303D527C7DE6}"/>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1625602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0FBFC442-76A2-C926-004F-130AA22F34E2}"/>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13450078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07</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90</cp:revision>
  <dcterms:created xsi:type="dcterms:W3CDTF">2022-07-04T13:32:28Z</dcterms:created>
  <dcterms:modified xsi:type="dcterms:W3CDTF">2023-03-07T00:17:41Z</dcterms:modified>
</cp:coreProperties>
</file>